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14"/>
  </p:notesMasterIdLst>
  <p:handoutMasterIdLst>
    <p:handoutMasterId r:id="rId15"/>
  </p:handoutMasterIdLst>
  <p:sldIdLst>
    <p:sldId id="379" r:id="rId2"/>
    <p:sldId id="380" r:id="rId3"/>
    <p:sldId id="392" r:id="rId4"/>
    <p:sldId id="402" r:id="rId5"/>
    <p:sldId id="395" r:id="rId6"/>
    <p:sldId id="396" r:id="rId7"/>
    <p:sldId id="397" r:id="rId8"/>
    <p:sldId id="398" r:id="rId9"/>
    <p:sldId id="399" r:id="rId10"/>
    <p:sldId id="386" r:id="rId11"/>
    <p:sldId id="400" r:id="rId12"/>
    <p:sldId id="401" r:id="rId13"/>
  </p:sldIdLst>
  <p:sldSz cx="9144000" cy="6858000" type="screen4x3"/>
  <p:notesSz cx="7099300" cy="10234613"/>
  <p:custDataLst>
    <p:tags r:id="rId16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76" autoAdjust="0"/>
    <p:restoredTop sz="96338" autoAdjust="0"/>
  </p:normalViewPr>
  <p:slideViewPr>
    <p:cSldViewPr snapToGrid="0" snapToObjects="1" showGuides="1">
      <p:cViewPr>
        <p:scale>
          <a:sx n="66" d="100"/>
          <a:sy n="66" d="100"/>
        </p:scale>
        <p:origin x="-1164" y="-48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2D4DEF37-AACC-4F61-8A06-1AD0A5A8B18C}"/>
    <pc:docChg chg="modSld">
      <pc:chgData name="" userId="" providerId="" clId="Web-{2D4DEF37-AACC-4F61-8A06-1AD0A5A8B18C}" dt="2019-01-28T12:56:51.158" v="2" actId="20577"/>
      <pc:docMkLst>
        <pc:docMk/>
      </pc:docMkLst>
      <pc:sldChg chg="modSp">
        <pc:chgData name="" userId="" providerId="" clId="Web-{2D4DEF37-AACC-4F61-8A06-1AD0A5A8B18C}" dt="2019-01-28T12:56:51.158" v="2" actId="20577"/>
        <pc:sldMkLst>
          <pc:docMk/>
          <pc:sldMk cId="2211732740" sldId="379"/>
        </pc:sldMkLst>
        <pc:spChg chg="mod">
          <ac:chgData name="" userId="" providerId="" clId="Web-{2D4DEF37-AACC-4F61-8A06-1AD0A5A8B18C}" dt="2019-01-28T12:56:51.158" v="2" actId="20577"/>
          <ac:spMkLst>
            <pc:docMk/>
            <pc:sldMk cId="2211732740" sldId="379"/>
            <ac:spMk id="14373" creationId="{00000000-0000-0000-0000-000000000000}"/>
          </ac:spMkLst>
        </pc:spChg>
      </pc:sldChg>
    </pc:docChg>
  </pc:docChgLst>
  <pc:docChgLst>
    <pc:chgData clId="Web-{44849A8A-0889-40B9-B4B9-FE397BD077B9}"/>
    <pc:docChg chg="modSld">
      <pc:chgData name="" userId="" providerId="" clId="Web-{44849A8A-0889-40B9-B4B9-FE397BD077B9}" dt="2019-01-28T15:31:04.985" v="23"/>
      <pc:docMkLst>
        <pc:docMk/>
      </pc:docMkLst>
      <pc:sldChg chg="modSp">
        <pc:chgData name="" userId="" providerId="" clId="Web-{44849A8A-0889-40B9-B4B9-FE397BD077B9}" dt="2019-01-28T15:30:09.639" v="4" actId="20577"/>
        <pc:sldMkLst>
          <pc:docMk/>
          <pc:sldMk cId="2211732740" sldId="379"/>
        </pc:sldMkLst>
        <pc:spChg chg="mod">
          <ac:chgData name="" userId="" providerId="" clId="Web-{44849A8A-0889-40B9-B4B9-FE397BD077B9}" dt="2019-01-28T15:30:09.639" v="4" actId="20577"/>
          <ac:spMkLst>
            <pc:docMk/>
            <pc:sldMk cId="2211732740" sldId="379"/>
            <ac:spMk id="14373" creationId="{00000000-0000-0000-0000-000000000000}"/>
          </ac:spMkLst>
        </pc:spChg>
      </pc:sldChg>
      <pc:sldChg chg="modSp">
        <pc:chgData name="" userId="" providerId="" clId="Web-{44849A8A-0889-40B9-B4B9-FE397BD077B9}" dt="2019-01-28T15:30:15.201" v="5" actId="20577"/>
        <pc:sldMkLst>
          <pc:docMk/>
          <pc:sldMk cId="1892052294" sldId="380"/>
        </pc:sldMkLst>
        <pc:spChg chg="mod">
          <ac:chgData name="" userId="" providerId="" clId="Web-{44849A8A-0889-40B9-B4B9-FE397BD077B9}" dt="2019-01-28T15:30:15.201" v="5" actId="20577"/>
          <ac:spMkLst>
            <pc:docMk/>
            <pc:sldMk cId="1892052294" sldId="380"/>
            <ac:spMk id="2" creationId="{00000000-0000-0000-0000-000000000000}"/>
          </ac:spMkLst>
        </pc:spChg>
      </pc:sldChg>
      <pc:sldChg chg="modSp">
        <pc:chgData name="" userId="" providerId="" clId="Web-{44849A8A-0889-40B9-B4B9-FE397BD077B9}" dt="2019-01-28T15:30:31.671" v="11" actId="20577"/>
        <pc:sldMkLst>
          <pc:docMk/>
          <pc:sldMk cId="1007584641" sldId="385"/>
        </pc:sldMkLst>
        <pc:spChg chg="mod">
          <ac:chgData name="" userId="" providerId="" clId="Web-{44849A8A-0889-40B9-B4B9-FE397BD077B9}" dt="2019-01-28T15:30:31.671" v="11" actId="20577"/>
          <ac:spMkLst>
            <pc:docMk/>
            <pc:sldMk cId="1007584641" sldId="385"/>
            <ac:spMk id="5" creationId="{00000000-0000-0000-0000-000000000000}"/>
          </ac:spMkLst>
        </pc:spChg>
      </pc:sldChg>
      <pc:sldChg chg="modSp mod modClrScheme chgLayout">
        <pc:chgData name="" userId="" providerId="" clId="Web-{44849A8A-0889-40B9-B4B9-FE397BD077B9}" dt="2019-01-28T15:31:04.985" v="23"/>
        <pc:sldMkLst>
          <pc:docMk/>
          <pc:sldMk cId="394587488" sldId="386"/>
        </pc:sldMkLst>
        <pc:spChg chg="mod ord">
          <ac:chgData name="" userId="" providerId="" clId="Web-{44849A8A-0889-40B9-B4B9-FE397BD077B9}" dt="2019-01-28T15:31:04.985" v="23"/>
          <ac:spMkLst>
            <pc:docMk/>
            <pc:sldMk cId="394587488" sldId="386"/>
            <ac:spMk id="5" creationId="{00000000-0000-0000-0000-000000000000}"/>
          </ac:spMkLst>
        </pc:spChg>
        <pc:spChg chg="mod ord">
          <ac:chgData name="" userId="" providerId="" clId="Web-{44849A8A-0889-40B9-B4B9-FE397BD077B9}" dt="2019-01-28T15:31:04.985" v="23"/>
          <ac:spMkLst>
            <pc:docMk/>
            <pc:sldMk cId="394587488" sldId="386"/>
            <ac:spMk id="7" creationId="{00000000-0000-0000-0000-000000000000}"/>
          </ac:spMkLst>
        </pc:spChg>
        <pc:spChg chg="mod ord">
          <ac:chgData name="" userId="" providerId="" clId="Web-{44849A8A-0889-40B9-B4B9-FE397BD077B9}" dt="2019-01-28T15:31:04.985" v="23"/>
          <ac:spMkLst>
            <pc:docMk/>
            <pc:sldMk cId="394587488" sldId="386"/>
            <ac:spMk id="8" creationId="{00000000-0000-0000-0000-000000000000}"/>
          </ac:spMkLst>
        </pc:spChg>
      </pc:sldChg>
      <pc:sldChg chg="modSp">
        <pc:chgData name="" userId="" providerId="" clId="Web-{44849A8A-0889-40B9-B4B9-FE397BD077B9}" dt="2019-01-28T15:30:23.374" v="8" actId="20577"/>
        <pc:sldMkLst>
          <pc:docMk/>
          <pc:sldMk cId="1372208014" sldId="387"/>
        </pc:sldMkLst>
        <pc:spChg chg="mod">
          <ac:chgData name="" userId="" providerId="" clId="Web-{44849A8A-0889-40B9-B4B9-FE397BD077B9}" dt="2019-01-28T15:30:23.374" v="8" actId="20577"/>
          <ac:spMkLst>
            <pc:docMk/>
            <pc:sldMk cId="1372208014" sldId="387"/>
            <ac:spMk id="5" creationId="{00000000-0000-0000-0000-000000000000}"/>
          </ac:spMkLst>
        </pc:spChg>
      </pc:sldChg>
      <pc:sldChg chg="modSp">
        <pc:chgData name="" userId="" providerId="" clId="Web-{44849A8A-0889-40B9-B4B9-FE397BD077B9}" dt="2019-01-28T15:30:37.577" v="14" actId="20577"/>
        <pc:sldMkLst>
          <pc:docMk/>
          <pc:sldMk cId="1777574705" sldId="388"/>
        </pc:sldMkLst>
        <pc:spChg chg="mod">
          <ac:chgData name="" userId="" providerId="" clId="Web-{44849A8A-0889-40B9-B4B9-FE397BD077B9}" dt="2019-01-28T15:30:37.577" v="14" actId="20577"/>
          <ac:spMkLst>
            <pc:docMk/>
            <pc:sldMk cId="1777574705" sldId="388"/>
            <ac:spMk id="5" creationId="{00000000-0000-0000-0000-000000000000}"/>
          </ac:spMkLst>
        </pc:spChg>
      </pc:sldChg>
      <pc:sldChg chg="modSp">
        <pc:chgData name="" userId="" providerId="" clId="Web-{44849A8A-0889-40B9-B4B9-FE397BD077B9}" dt="2019-01-28T15:30:43.046" v="17" actId="20577"/>
        <pc:sldMkLst>
          <pc:docMk/>
          <pc:sldMk cId="830592608" sldId="389"/>
        </pc:sldMkLst>
        <pc:spChg chg="mod">
          <ac:chgData name="" userId="" providerId="" clId="Web-{44849A8A-0889-40B9-B4B9-FE397BD077B9}" dt="2019-01-28T15:30:43.046" v="17" actId="20577"/>
          <ac:spMkLst>
            <pc:docMk/>
            <pc:sldMk cId="830592608" sldId="389"/>
            <ac:spMk id="5" creationId="{00000000-0000-0000-0000-000000000000}"/>
          </ac:spMkLst>
        </pc:spChg>
      </pc:sldChg>
      <pc:sldChg chg="modSp">
        <pc:chgData name="" userId="" providerId="" clId="Web-{44849A8A-0889-40B9-B4B9-FE397BD077B9}" dt="2019-01-28T15:30:49.374" v="20" actId="20577"/>
        <pc:sldMkLst>
          <pc:docMk/>
          <pc:sldMk cId="3214753125" sldId="390"/>
        </pc:sldMkLst>
        <pc:spChg chg="mod">
          <ac:chgData name="" userId="" providerId="" clId="Web-{44849A8A-0889-40B9-B4B9-FE397BD077B9}" dt="2019-01-28T15:30:49.374" v="20" actId="20577"/>
          <ac:spMkLst>
            <pc:docMk/>
            <pc:sldMk cId="3214753125" sldId="390"/>
            <ac:spMk id="5" creationId="{00000000-0000-0000-0000-000000000000}"/>
          </ac:spMkLst>
        </pc:spChg>
      </pc:sldChg>
    </pc:docChg>
  </pc:docChgLst>
  <pc:docChgLst>
    <pc:chgData clId="Web-{BA2C9EDD-43C2-4B8E-925F-177DB85630DC}"/>
    <pc:docChg chg="addSld delSld modSld">
      <pc:chgData name="" userId="" providerId="" clId="Web-{BA2C9EDD-43C2-4B8E-925F-177DB85630DC}" dt="2019-01-29T09:28:40.963" v="174" actId="20577"/>
      <pc:docMkLst>
        <pc:docMk/>
      </pc:docMkLst>
      <pc:sldChg chg="modSp">
        <pc:chgData name="" userId="" providerId="" clId="Web-{BA2C9EDD-43C2-4B8E-925F-177DB85630DC}" dt="2019-01-29T09:27:10.647" v="158" actId="20577"/>
        <pc:sldMkLst>
          <pc:docMk/>
          <pc:sldMk cId="1892052294" sldId="380"/>
        </pc:sldMkLst>
        <pc:spChg chg="mod">
          <ac:chgData name="" userId="" providerId="" clId="Web-{BA2C9EDD-43C2-4B8E-925F-177DB85630DC}" dt="2019-01-29T09:27:10.647" v="158" actId="20577"/>
          <ac:spMkLst>
            <pc:docMk/>
            <pc:sldMk cId="1892052294" sldId="380"/>
            <ac:spMk id="3" creationId="{00000000-0000-0000-0000-000000000000}"/>
          </ac:spMkLst>
        </pc:spChg>
      </pc:sldChg>
      <pc:sldChg chg="addSp delSp modSp add del">
        <pc:chgData name="" userId="" providerId="" clId="Web-{BA2C9EDD-43C2-4B8E-925F-177DB85630DC}" dt="2019-01-29T09:27:00.679" v="157"/>
        <pc:sldMkLst>
          <pc:docMk/>
          <pc:sldMk cId="1007584641" sldId="385"/>
        </pc:sldMkLst>
        <pc:spChg chg="mod">
          <ac:chgData name="" userId="" providerId="" clId="Web-{BA2C9EDD-43C2-4B8E-925F-177DB85630DC}" dt="2019-01-29T09:20:51.572" v="140" actId="1076"/>
          <ac:spMkLst>
            <pc:docMk/>
            <pc:sldMk cId="1007584641" sldId="385"/>
            <ac:spMk id="5" creationId="{00000000-0000-0000-0000-000000000000}"/>
          </ac:spMkLst>
        </pc:spChg>
        <pc:spChg chg="add del">
          <ac:chgData name="" userId="" providerId="" clId="Web-{BA2C9EDD-43C2-4B8E-925F-177DB85630DC}" dt="2019-01-29T09:15:15.451" v="81"/>
          <ac:spMkLst>
            <pc:docMk/>
            <pc:sldMk cId="1007584641" sldId="385"/>
            <ac:spMk id="8" creationId="{00000000-0000-0000-0000-000000000000}"/>
          </ac:spMkLst>
        </pc:spChg>
        <pc:spChg chg="add del mod">
          <ac:chgData name="" userId="" providerId="" clId="Web-{BA2C9EDD-43C2-4B8E-925F-177DB85630DC}" dt="2019-01-29T09:15:29.967" v="83"/>
          <ac:spMkLst>
            <pc:docMk/>
            <pc:sldMk cId="1007584641" sldId="385"/>
            <ac:spMk id="10" creationId="{30C50BC0-264E-4B30-BBB1-410E0178666C}"/>
          </ac:spMkLst>
        </pc:spChg>
        <pc:spChg chg="add del mod">
          <ac:chgData name="" userId="" providerId="" clId="Web-{BA2C9EDD-43C2-4B8E-925F-177DB85630DC}" dt="2019-01-29T09:17:40.425" v="97"/>
          <ac:spMkLst>
            <pc:docMk/>
            <pc:sldMk cId="1007584641" sldId="385"/>
            <ac:spMk id="14" creationId="{79CD1BFE-7160-4312-97F7-9FA84B8DCF05}"/>
          </ac:spMkLst>
        </pc:spChg>
        <pc:spChg chg="add del mod">
          <ac:chgData name="" userId="" providerId="" clId="Web-{BA2C9EDD-43C2-4B8E-925F-177DB85630DC}" dt="2019-01-29T09:20:15.743" v="129"/>
          <ac:spMkLst>
            <pc:docMk/>
            <pc:sldMk cId="1007584641" sldId="385"/>
            <ac:spMk id="18" creationId="{656CB404-1B07-4B32-A0EB-7678C8E7C1C1}"/>
          </ac:spMkLst>
        </pc:spChg>
        <pc:spChg chg="add del mod">
          <ac:chgData name="" userId="" providerId="" clId="Web-{BA2C9EDD-43C2-4B8E-925F-177DB85630DC}" dt="2019-01-29T09:20:59.525" v="142"/>
          <ac:spMkLst>
            <pc:docMk/>
            <pc:sldMk cId="1007584641" sldId="385"/>
            <ac:spMk id="20" creationId="{0AE03816-BA50-4702-9792-FDD6538051EF}"/>
          </ac:spMkLst>
        </pc:spChg>
        <pc:spChg chg="add del mod">
          <ac:chgData name="" userId="" providerId="" clId="Web-{BA2C9EDD-43C2-4B8E-925F-177DB85630DC}" dt="2019-01-29T09:22:28.716" v="145"/>
          <ac:spMkLst>
            <pc:docMk/>
            <pc:sldMk cId="1007584641" sldId="385"/>
            <ac:spMk id="21" creationId="{73672EB9-3747-4B82-9081-336CB7A45133}"/>
          </ac:spMkLst>
        </pc:spChg>
        <pc:picChg chg="add del mod ord">
          <ac:chgData name="" userId="" providerId="" clId="Web-{BA2C9EDD-43C2-4B8E-925F-177DB85630DC}" dt="2019-01-29T09:15:02.216" v="80"/>
          <ac:picMkLst>
            <pc:docMk/>
            <pc:sldMk cId="1007584641" sldId="385"/>
            <ac:picMk id="2" creationId="{53739B5B-9711-43B9-A4B4-B2DC267887D5}"/>
          </ac:picMkLst>
        </pc:picChg>
        <pc:picChg chg="add del mod ord">
          <ac:chgData name="" userId="" providerId="" clId="Web-{BA2C9EDD-43C2-4B8E-925F-177DB85630DC}" dt="2019-01-29T09:15:20.733" v="82"/>
          <ac:picMkLst>
            <pc:docMk/>
            <pc:sldMk cId="1007584641" sldId="385"/>
            <ac:picMk id="6" creationId="{0C558745-802C-4C59-9512-24576237CCD7}"/>
          </ac:picMkLst>
        </pc:picChg>
        <pc:picChg chg="add del mod ord">
          <ac:chgData name="" userId="" providerId="" clId="Web-{BA2C9EDD-43C2-4B8E-925F-177DB85630DC}" dt="2019-01-29T09:15:32.592" v="84"/>
          <ac:picMkLst>
            <pc:docMk/>
            <pc:sldMk cId="1007584641" sldId="385"/>
            <ac:picMk id="11" creationId="{C3374FC8-CA6D-4048-876D-17DCC14C0E32}"/>
          </ac:picMkLst>
        </pc:picChg>
        <pc:picChg chg="add del mod ord">
          <ac:chgData name="" userId="" providerId="" clId="Web-{BA2C9EDD-43C2-4B8E-925F-177DB85630DC}" dt="2019-01-29T09:20:20.118" v="130"/>
          <ac:picMkLst>
            <pc:docMk/>
            <pc:sldMk cId="1007584641" sldId="385"/>
            <ac:picMk id="15" creationId="{9C50D0D3-BBB1-4CE6-9C50-675CA8CD5407}"/>
          </ac:picMkLst>
        </pc:picChg>
        <pc:picChg chg="add mod">
          <ac:chgData name="" userId="" providerId="" clId="Web-{BA2C9EDD-43C2-4B8E-925F-177DB85630DC}" dt="2019-01-29T09:22:39.622" v="147" actId="14100"/>
          <ac:picMkLst>
            <pc:docMk/>
            <pc:sldMk cId="1007584641" sldId="385"/>
            <ac:picMk id="22" creationId="{3F4BCE81-DB3D-4964-87B4-A8657B847DE2}"/>
          </ac:picMkLst>
        </pc:picChg>
        <pc:picChg chg="add mod">
          <ac:chgData name="" userId="" providerId="" clId="Web-{BA2C9EDD-43C2-4B8E-925F-177DB85630DC}" dt="2019-01-29T09:22:43.701" v="148" actId="14100"/>
          <ac:picMkLst>
            <pc:docMk/>
            <pc:sldMk cId="1007584641" sldId="385"/>
            <ac:picMk id="23" creationId="{EB6B689A-4C04-4612-A95A-F917F0301B52}"/>
          </ac:picMkLst>
        </pc:picChg>
      </pc:sldChg>
      <pc:sldChg chg="addSp modSp">
        <pc:chgData name="" userId="" providerId="" clId="Web-{BA2C9EDD-43C2-4B8E-925F-177DB85630DC}" dt="2019-01-29T09:12:03.319" v="69" actId="20577"/>
        <pc:sldMkLst>
          <pc:docMk/>
          <pc:sldMk cId="1372208014" sldId="387"/>
        </pc:sldMkLst>
        <pc:spChg chg="mod">
          <ac:chgData name="" userId="" providerId="" clId="Web-{BA2C9EDD-43C2-4B8E-925F-177DB85630DC}" dt="2019-01-29T09:12:03.319" v="69" actId="20577"/>
          <ac:spMkLst>
            <pc:docMk/>
            <pc:sldMk cId="1372208014" sldId="387"/>
            <ac:spMk id="8" creationId="{00000000-0000-0000-0000-000000000000}"/>
          </ac:spMkLst>
        </pc:spChg>
        <pc:picChg chg="add mod modCrop">
          <ac:chgData name="" userId="" providerId="" clId="Web-{BA2C9EDD-43C2-4B8E-925F-177DB85630DC}" dt="2019-01-29T09:06:04.823" v="35" actId="1076"/>
          <ac:picMkLst>
            <pc:docMk/>
            <pc:sldMk cId="1372208014" sldId="387"/>
            <ac:picMk id="2" creationId="{EE1F56D2-00C4-406D-B9F4-B52F810CC638}"/>
          </ac:picMkLst>
        </pc:picChg>
      </pc:sldChg>
      <pc:sldChg chg="addSp delSp modSp del">
        <pc:chgData name="" userId="" providerId="" clId="Web-{BA2C9EDD-43C2-4B8E-925F-177DB85630DC}" dt="2019-01-29T09:27:00.679" v="156"/>
        <pc:sldMkLst>
          <pc:docMk/>
          <pc:sldMk cId="1777574705" sldId="388"/>
        </pc:sldMkLst>
        <pc:spChg chg="add del mod">
          <ac:chgData name="" userId="" providerId="" clId="Web-{BA2C9EDD-43C2-4B8E-925F-177DB85630DC}" dt="2019-01-29T09:20:09.055" v="128"/>
          <ac:spMkLst>
            <pc:docMk/>
            <pc:sldMk cId="1777574705" sldId="388"/>
            <ac:spMk id="6" creationId="{98FF9AE9-0CE6-446F-AE08-5023EE684FEF}"/>
          </ac:spMkLst>
        </pc:spChg>
        <pc:spChg chg="add del">
          <ac:chgData name="" userId="" providerId="" clId="Web-{BA2C9EDD-43C2-4B8E-925F-177DB85630DC}" dt="2019-01-29T09:20:22.899" v="131"/>
          <ac:spMkLst>
            <pc:docMk/>
            <pc:sldMk cId="1777574705" sldId="388"/>
            <ac:spMk id="8" creationId="{00000000-0000-0000-0000-000000000000}"/>
          </ac:spMkLst>
        </pc:spChg>
        <pc:picChg chg="add del mod ord">
          <ac:chgData name="" userId="" providerId="" clId="Web-{BA2C9EDD-43C2-4B8E-925F-177DB85630DC}" dt="2019-01-29T09:19:49.023" v="120"/>
          <ac:picMkLst>
            <pc:docMk/>
            <pc:sldMk cId="1777574705" sldId="388"/>
            <ac:picMk id="2" creationId="{C70B2571-7E1C-4EB2-BF70-960C9CF5BD34}"/>
          </ac:picMkLst>
        </pc:picChg>
        <pc:picChg chg="add mod ord">
          <ac:chgData name="" userId="" providerId="" clId="Web-{BA2C9EDD-43C2-4B8E-925F-177DB85630DC}" dt="2019-01-29T09:20:22.899" v="131"/>
          <ac:picMkLst>
            <pc:docMk/>
            <pc:sldMk cId="1777574705" sldId="388"/>
            <ac:picMk id="7" creationId="{B9C5F3A8-79A2-43FD-B190-340C6D0F54D1}"/>
          </ac:picMkLst>
        </pc:picChg>
      </pc:sldChg>
      <pc:sldChg chg="addSp delSp modSp">
        <pc:chgData name="" userId="" providerId="" clId="Web-{BA2C9EDD-43C2-4B8E-925F-177DB85630DC}" dt="2019-01-29T09:10:40.098" v="58"/>
        <pc:sldMkLst>
          <pc:docMk/>
          <pc:sldMk cId="3214753125" sldId="390"/>
        </pc:sldMkLst>
        <pc:spChg chg="del">
          <ac:chgData name="" userId="" providerId="" clId="Web-{BA2C9EDD-43C2-4B8E-925F-177DB85630DC}" dt="2019-01-29T09:10:40.098" v="58"/>
          <ac:spMkLst>
            <pc:docMk/>
            <pc:sldMk cId="3214753125" sldId="390"/>
            <ac:spMk id="8" creationId="{00000000-0000-0000-0000-000000000000}"/>
          </ac:spMkLst>
        </pc:spChg>
        <pc:picChg chg="add mod ord">
          <ac:chgData name="" userId="" providerId="" clId="Web-{BA2C9EDD-43C2-4B8E-925F-177DB85630DC}" dt="2019-01-29T09:10:40.098" v="58"/>
          <ac:picMkLst>
            <pc:docMk/>
            <pc:sldMk cId="3214753125" sldId="390"/>
            <ac:picMk id="2" creationId="{7C550F53-DD5A-4912-8B08-E5BA7AF4C5A7}"/>
          </ac:picMkLst>
        </pc:picChg>
      </pc:sldChg>
      <pc:sldChg chg="addSp delSp modSp new del">
        <pc:chgData name="" userId="" providerId="" clId="Web-{BA2C9EDD-43C2-4B8E-925F-177DB85630DC}" dt="2019-01-29T09:23:31.405" v="153"/>
        <pc:sldMkLst>
          <pc:docMk/>
          <pc:sldMk cId="2127759028" sldId="391"/>
        </pc:sldMkLst>
        <pc:spChg chg="del">
          <ac:chgData name="" userId="" providerId="" clId="Web-{BA2C9EDD-43C2-4B8E-925F-177DB85630DC}" dt="2019-01-29T09:11:00.177" v="60"/>
          <ac:spMkLst>
            <pc:docMk/>
            <pc:sldMk cId="2127759028" sldId="391"/>
            <ac:spMk id="3" creationId="{0DEB05E7-40F2-4482-873C-3E7BE1DD2213}"/>
          </ac:spMkLst>
        </pc:spChg>
        <pc:spChg chg="add mod">
          <ac:chgData name="" userId="" providerId="" clId="Web-{BA2C9EDD-43C2-4B8E-925F-177DB85630DC}" dt="2019-01-29T09:23:28.358" v="151"/>
          <ac:spMkLst>
            <pc:docMk/>
            <pc:sldMk cId="2127759028" sldId="391"/>
            <ac:spMk id="8" creationId="{09B2B4AB-2AFD-4796-8BB7-DA2E62E12E06}"/>
          </ac:spMkLst>
        </pc:spChg>
        <pc:picChg chg="add del mod ord">
          <ac:chgData name="" userId="" providerId="" clId="Web-{BA2C9EDD-43C2-4B8E-925F-177DB85630DC}" dt="2019-01-29T09:23:28.358" v="151"/>
          <ac:picMkLst>
            <pc:docMk/>
            <pc:sldMk cId="2127759028" sldId="391"/>
            <ac:picMk id="5" creationId="{4AB7A7D0-F4A6-4042-8529-35B053320C84}"/>
          </ac:picMkLst>
        </pc:picChg>
      </pc:sldChg>
      <pc:sldChg chg="addSp delSp modSp new">
        <pc:chgData name="" userId="" providerId="" clId="Web-{BA2C9EDD-43C2-4B8E-925F-177DB85630DC}" dt="2019-01-29T09:11:28.162" v="62"/>
        <pc:sldMkLst>
          <pc:docMk/>
          <pc:sldMk cId="1259478805" sldId="392"/>
        </pc:sldMkLst>
        <pc:spChg chg="del">
          <ac:chgData name="" userId="" providerId="" clId="Web-{BA2C9EDD-43C2-4B8E-925F-177DB85630DC}" dt="2019-01-29T09:11:28.162" v="62"/>
          <ac:spMkLst>
            <pc:docMk/>
            <pc:sldMk cId="1259478805" sldId="392"/>
            <ac:spMk id="3" creationId="{284E2531-CAC5-4D90-9D81-C784681D84EA}"/>
          </ac:spMkLst>
        </pc:spChg>
        <pc:picChg chg="add mod ord">
          <ac:chgData name="" userId="" providerId="" clId="Web-{BA2C9EDD-43C2-4B8E-925F-177DB85630DC}" dt="2019-01-29T09:11:28.162" v="62"/>
          <ac:picMkLst>
            <pc:docMk/>
            <pc:sldMk cId="1259478805" sldId="392"/>
            <ac:picMk id="5" creationId="{88A6B7DC-2D05-433C-BA74-806D37435634}"/>
          </ac:picMkLst>
        </pc:picChg>
      </pc:sldChg>
      <pc:sldChg chg="delSp modSp new">
        <pc:chgData name="" userId="" providerId="" clId="Web-{BA2C9EDD-43C2-4B8E-925F-177DB85630DC}" dt="2019-01-29T09:28:10.400" v="172" actId="20577"/>
        <pc:sldMkLst>
          <pc:docMk/>
          <pc:sldMk cId="1136619109" sldId="393"/>
        </pc:sldMkLst>
        <pc:spChg chg="del">
          <ac:chgData name="" userId="" providerId="" clId="Web-{BA2C9EDD-43C2-4B8E-925F-177DB85630DC}" dt="2019-01-29T09:28:01.680" v="161"/>
          <ac:spMkLst>
            <pc:docMk/>
            <pc:sldMk cId="1136619109" sldId="393"/>
            <ac:spMk id="2" creationId="{349FFAE2-BDC7-45E5-80C0-A4ECEA5FBBE8}"/>
          </ac:spMkLst>
        </pc:spChg>
        <pc:spChg chg="mod">
          <ac:chgData name="" userId="" providerId="" clId="Web-{BA2C9EDD-43C2-4B8E-925F-177DB85630DC}" dt="2019-01-29T09:28:10.400" v="172" actId="20577"/>
          <ac:spMkLst>
            <pc:docMk/>
            <pc:sldMk cId="1136619109" sldId="393"/>
            <ac:spMk id="3" creationId="{CF230259-7ADF-4E0A-81FA-5B37D18DFE92}"/>
          </ac:spMkLst>
        </pc:spChg>
      </pc:sldChg>
      <pc:sldChg chg="addSp delSp modSp new del">
        <pc:chgData name="" userId="" providerId="" clId="Web-{BA2C9EDD-43C2-4B8E-925F-177DB85630DC}" dt="2019-01-29T09:20:42.446" v="137"/>
        <pc:sldMkLst>
          <pc:docMk/>
          <pc:sldMk cId="1403233629" sldId="394"/>
        </pc:sldMkLst>
        <pc:spChg chg="mod">
          <ac:chgData name="" userId="" providerId="" clId="Web-{BA2C9EDD-43C2-4B8E-925F-177DB85630DC}" dt="2019-01-29T09:19:41.569" v="116" actId="20577"/>
          <ac:spMkLst>
            <pc:docMk/>
            <pc:sldMk cId="1403233629" sldId="394"/>
            <ac:spMk id="2" creationId="{8077184C-F409-49DD-84DB-AC070CE6AD5B}"/>
          </ac:spMkLst>
        </pc:spChg>
        <pc:spChg chg="del">
          <ac:chgData name="" userId="" providerId="" clId="Web-{BA2C9EDD-43C2-4B8E-925F-177DB85630DC}" dt="2019-01-29T09:15:58.812" v="88"/>
          <ac:spMkLst>
            <pc:docMk/>
            <pc:sldMk cId="1403233629" sldId="394"/>
            <ac:spMk id="3" creationId="{757B1037-B0FC-4C39-B33A-E9326AD91C77}"/>
          </ac:spMkLst>
        </pc:spChg>
        <pc:spChg chg="del">
          <ac:chgData name="" userId="" providerId="" clId="Web-{BA2C9EDD-43C2-4B8E-925F-177DB85630DC}" dt="2019-01-29T09:16:35.126" v="90"/>
          <ac:spMkLst>
            <pc:docMk/>
            <pc:sldMk cId="1403233629" sldId="394"/>
            <ac:spMk id="4" creationId="{9D492AF1-9C09-4886-9FB7-4717DB501040}"/>
          </ac:spMkLst>
        </pc:spChg>
        <pc:spChg chg="add del mod">
          <ac:chgData name="" userId="" providerId="" clId="Web-{BA2C9EDD-43C2-4B8E-925F-177DB85630DC}" dt="2019-01-29T09:20:36.040" v="135"/>
          <ac:spMkLst>
            <pc:docMk/>
            <pc:sldMk cId="1403233629" sldId="394"/>
            <ac:spMk id="8" creationId="{39D8EDDC-D52D-46B4-BF5A-6AD8A979FCA0}"/>
          </ac:spMkLst>
        </pc:spChg>
        <pc:spChg chg="add del mod">
          <ac:chgData name="" userId="" providerId="" clId="Web-{BA2C9EDD-43C2-4B8E-925F-177DB85630DC}" dt="2019-01-29T09:16:47.907" v="91"/>
          <ac:spMkLst>
            <pc:docMk/>
            <pc:sldMk cId="1403233629" sldId="394"/>
            <ac:spMk id="12" creationId="{ED151803-4277-4A36-B6C1-6D85A14F7386}"/>
          </ac:spMkLst>
        </pc:spChg>
        <pc:spChg chg="add del mod">
          <ac:chgData name="" userId="" providerId="" clId="Web-{BA2C9EDD-43C2-4B8E-925F-177DB85630DC}" dt="2019-01-29T09:17:08.268" v="95"/>
          <ac:spMkLst>
            <pc:docMk/>
            <pc:sldMk cId="1403233629" sldId="394"/>
            <ac:spMk id="18" creationId="{A22F46E7-2CC5-428E-AC8A-1FC7C0304BEE}"/>
          </ac:spMkLst>
        </pc:spChg>
        <pc:spChg chg="add del mod">
          <ac:chgData name="" userId="" providerId="" clId="Web-{BA2C9EDD-43C2-4B8E-925F-177DB85630DC}" dt="2019-01-29T09:17:25.909" v="96"/>
          <ac:spMkLst>
            <pc:docMk/>
            <pc:sldMk cId="1403233629" sldId="394"/>
            <ac:spMk id="20" creationId="{78FFD2AB-14CD-4F6E-81A2-D01BA5FAD993}"/>
          </ac:spMkLst>
        </pc:spChg>
        <pc:spChg chg="add mod">
          <ac:chgData name="" userId="" providerId="" clId="Web-{BA2C9EDD-43C2-4B8E-925F-177DB85630DC}" dt="2019-01-29T09:20:36.024" v="133"/>
          <ac:spMkLst>
            <pc:docMk/>
            <pc:sldMk cId="1403233629" sldId="394"/>
            <ac:spMk id="26" creationId="{83905564-1AA2-4EE3-9A61-21339556EC88}"/>
          </ac:spMkLst>
        </pc:spChg>
        <pc:spChg chg="add mod">
          <ac:chgData name="" userId="" providerId="" clId="Web-{BA2C9EDD-43C2-4B8E-925F-177DB85630DC}" dt="2019-01-29T09:20:36.024" v="134"/>
          <ac:spMkLst>
            <pc:docMk/>
            <pc:sldMk cId="1403233629" sldId="394"/>
            <ac:spMk id="28" creationId="{891D6425-B5B0-432B-81F0-4C769E8928D3}"/>
          </ac:spMkLst>
        </pc:spChg>
        <pc:picChg chg="add del mod ord">
          <ac:chgData name="" userId="" providerId="" clId="Web-{BA2C9EDD-43C2-4B8E-925F-177DB85630DC}" dt="2019-01-29T09:16:01.156" v="89"/>
          <ac:picMkLst>
            <pc:docMk/>
            <pc:sldMk cId="1403233629" sldId="394"/>
            <ac:picMk id="9" creationId="{7B976AA8-05B5-4A22-A382-360388B7101C}"/>
          </ac:picMkLst>
        </pc:picChg>
        <pc:picChg chg="add del mod ord">
          <ac:chgData name="" userId="" providerId="" clId="Web-{BA2C9EDD-43C2-4B8E-925F-177DB85630DC}" dt="2019-01-29T09:16:59.345" v="94"/>
          <ac:picMkLst>
            <pc:docMk/>
            <pc:sldMk cId="1403233629" sldId="394"/>
            <ac:picMk id="13" creationId="{AABF3DAA-7C77-49D9-B777-53AC74322707}"/>
          </ac:picMkLst>
        </pc:picChg>
        <pc:picChg chg="add del mod ord">
          <ac:chgData name="" userId="" providerId="" clId="Web-{BA2C9EDD-43C2-4B8E-925F-177DB85630DC}" dt="2019-01-29T09:16:56.548" v="93"/>
          <ac:picMkLst>
            <pc:docMk/>
            <pc:sldMk cId="1403233629" sldId="394"/>
            <ac:picMk id="15" creationId="{5F056307-1C1B-469A-923F-5CF39CE7656C}"/>
          </ac:picMkLst>
        </pc:picChg>
        <pc:picChg chg="add del mod ord">
          <ac:chgData name="" userId="" providerId="" clId="Web-{BA2C9EDD-43C2-4B8E-925F-177DB85630DC}" dt="2019-01-29T09:20:36.024" v="134"/>
          <ac:picMkLst>
            <pc:docMk/>
            <pc:sldMk cId="1403233629" sldId="394"/>
            <ac:picMk id="21" creationId="{2D1472CC-9589-44A9-A948-823D26517C6D}"/>
          </ac:picMkLst>
        </pc:picChg>
        <pc:picChg chg="add del mod ord">
          <ac:chgData name="" userId="" providerId="" clId="Web-{BA2C9EDD-43C2-4B8E-925F-177DB85630DC}" dt="2019-01-29T09:20:36.024" v="133"/>
          <ac:picMkLst>
            <pc:docMk/>
            <pc:sldMk cId="1403233629" sldId="394"/>
            <ac:picMk id="23" creationId="{7206DD49-5696-496F-A790-7105C6603F9D}"/>
          </ac:picMkLst>
        </pc:picChg>
      </pc:sldChg>
      <pc:sldChg chg="addSp delSp modSp add replId">
        <pc:chgData name="" userId="" providerId="" clId="Web-{BA2C9EDD-43C2-4B8E-925F-177DB85630DC}" dt="2019-01-29T09:23:36.046" v="155" actId="1076"/>
        <pc:sldMkLst>
          <pc:docMk/>
          <pc:sldMk cId="1952610339" sldId="394"/>
        </pc:sldMkLst>
        <pc:spChg chg="add del mod">
          <ac:chgData name="" userId="" providerId="" clId="Web-{BA2C9EDD-43C2-4B8E-925F-177DB85630DC}" dt="2019-01-29T09:23:30.046" v="152"/>
          <ac:spMkLst>
            <pc:docMk/>
            <pc:sldMk cId="1952610339" sldId="394"/>
            <ac:spMk id="6" creationId="{6FD5F0E1-2E69-4506-A2E9-CB1CAE33AE43}"/>
          </ac:spMkLst>
        </pc:spChg>
        <pc:picChg chg="del">
          <ac:chgData name="" userId="" providerId="" clId="Web-{BA2C9EDD-43C2-4B8E-925F-177DB85630DC}" dt="2019-01-29T09:23:25.796" v="150"/>
          <ac:picMkLst>
            <pc:docMk/>
            <pc:sldMk cId="1952610339" sldId="394"/>
            <ac:picMk id="2" creationId="{7C550F53-DD5A-4912-8B08-E5BA7AF4C5A7}"/>
          </ac:picMkLst>
        </pc:picChg>
        <pc:picChg chg="add mod ord">
          <ac:chgData name="" userId="" providerId="" clId="Web-{BA2C9EDD-43C2-4B8E-925F-177DB85630DC}" dt="2019-01-29T09:23:36.046" v="155" actId="1076"/>
          <ac:picMkLst>
            <pc:docMk/>
            <pc:sldMk cId="1952610339" sldId="394"/>
            <ac:picMk id="7" creationId="{AF78EC41-7BC7-4336-B162-859C089B73F4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29.0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29.01.2019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29.01.2019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9.0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9.0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0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29.01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29.01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6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9.0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29.01.2019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9.01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29.0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29.01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9.01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29.01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29.0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videos.mysimpleshow.com/3ZTvqpvL8M" TargetMode="Externa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25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190500" y="67057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6000" dirty="0" err="1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Social</a:t>
            </a:r>
            <a:r>
              <a:rPr lang="de-DE" sz="6000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 Reporter</a:t>
            </a:r>
            <a:r>
              <a:rPr lang="de-DE" sz="4000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de-DE" sz="400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de-DE" sz="4000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de-DE" sz="400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de-DE" sz="2400" dirty="0">
                <a:solidFill>
                  <a:schemeClr val="tx1"/>
                </a:solidFill>
                <a:latin typeface="Franklin Gothic Demi"/>
              </a:rPr>
              <a:t>Isabel </a:t>
            </a:r>
            <a:r>
              <a:rPr lang="de-DE" sz="2400" dirty="0" err="1">
                <a:solidFill>
                  <a:schemeClr val="tx1"/>
                </a:solidFill>
                <a:latin typeface="Franklin Gothic Demi"/>
              </a:rPr>
              <a:t>Schorm</a:t>
            </a:r>
            <a:r>
              <a:rPr lang="de-DE" sz="2400" dirty="0">
                <a:solidFill>
                  <a:schemeClr val="tx1"/>
                </a:solidFill>
                <a:latin typeface="Franklin Gothic Demi"/>
              </a:rPr>
              <a:t>, Tobias </a:t>
            </a:r>
            <a:r>
              <a:rPr lang="de-DE" sz="2400" dirty="0" err="1">
                <a:solidFill>
                  <a:schemeClr val="tx1"/>
                </a:solidFill>
                <a:latin typeface="Franklin Gothic Demi"/>
              </a:rPr>
              <a:t>Kanaske</a:t>
            </a:r>
            <a:r>
              <a:rPr lang="de-DE" sz="2400" dirty="0">
                <a:solidFill>
                  <a:schemeClr val="tx1"/>
                </a:solidFill>
                <a:latin typeface="Franklin Gothic Demi"/>
              </a:rPr>
              <a:t>, Philipp Sautter, Philipp Regel</a:t>
            </a:r>
            <a:endParaRPr sz="2400" dirty="0">
              <a:solidFill>
                <a:schemeClr val="tx1"/>
              </a:solidFill>
              <a:latin typeface="Franklin Gothic Demi"/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190500" y="3096601"/>
            <a:ext cx="8496300" cy="332399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dirty="0"/>
              <a:t>Modul „Internet </a:t>
            </a:r>
            <a:r>
              <a:rPr lang="de-DE" dirty="0" err="1"/>
              <a:t>of</a:t>
            </a:r>
            <a:r>
              <a:rPr lang="de-DE" dirty="0"/>
              <a:t> Things“, 29.01.2019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xmlns="" id="{4B1AAA76-5A2E-49D6-BFDC-89A66093F2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43201" y="3537195"/>
            <a:ext cx="3128093" cy="2305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6356350"/>
          </a:xfrm>
        </p:spPr>
        <p:txBody>
          <a:bodyPr>
            <a:noAutofit/>
          </a:bodyPr>
          <a:lstStyle/>
          <a:p>
            <a:pPr algn="ctr"/>
            <a:r>
              <a:rPr lang="de-DE" sz="4800" dirty="0" err="1"/>
              <a:t>Social</a:t>
            </a:r>
            <a:r>
              <a:rPr lang="de-DE" sz="4800" dirty="0"/>
              <a:t> Reporter Use-Cas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4294967295"/>
          </p:nvPr>
        </p:nvSpPr>
        <p:spPr>
          <a:xfrm>
            <a:off x="0" y="6356350"/>
            <a:ext cx="2057400" cy="365125"/>
          </a:xfrm>
        </p:spPr>
        <p:txBody>
          <a:bodyPr/>
          <a:lstStyle/>
          <a:p>
            <a:r>
              <a:rPr lang="de-DE" dirty="0"/>
              <a:t>29.01.2019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xmlns="" id="{2C80D9A0-0AB3-43C4-A948-A9AAD3370D45}"/>
              </a:ext>
            </a:extLst>
          </p:cNvPr>
          <p:cNvSpPr/>
          <p:nvPr/>
        </p:nvSpPr>
        <p:spPr>
          <a:xfrm>
            <a:off x="2057400" y="6430493"/>
            <a:ext cx="5019575" cy="3115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de-DE" sz="1200" b="1" dirty="0">
                <a:solidFill>
                  <a:schemeClr val="bg1"/>
                </a:solidFill>
                <a:latin typeface="Franklin Gothic Book"/>
              </a:rPr>
              <a:t>Zum Video: </a:t>
            </a:r>
            <a:r>
              <a:rPr lang="de-DE" sz="1200" b="1" dirty="0">
                <a:solidFill>
                  <a:schemeClr val="bg1"/>
                </a:solidFill>
                <a:latin typeface="Franklin Gothic Book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videos.mysimpleshow.com/3ZTvqpvL8M</a:t>
            </a:r>
            <a:endParaRPr lang="de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87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6858000"/>
          </a:xfrm>
        </p:spPr>
        <p:txBody>
          <a:bodyPr>
            <a:normAutofit/>
          </a:bodyPr>
          <a:lstStyle/>
          <a:p>
            <a:pPr algn="ctr"/>
            <a:r>
              <a:rPr lang="de-DE" sz="11500" dirty="0"/>
              <a:t>Live Demo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4294967295"/>
          </p:nvPr>
        </p:nvSpPr>
        <p:spPr>
          <a:xfrm>
            <a:off x="0" y="6356350"/>
            <a:ext cx="2057400" cy="365125"/>
          </a:xfrm>
        </p:spPr>
        <p:txBody>
          <a:bodyPr/>
          <a:lstStyle/>
          <a:p>
            <a:r>
              <a:rPr lang="de-DE" dirty="0"/>
              <a:t>29.01.2019</a:t>
            </a:r>
          </a:p>
        </p:txBody>
      </p:sp>
    </p:spTree>
    <p:extLst>
      <p:ext uri="{BB962C8B-B14F-4D97-AF65-F5344CB8AC3E}">
        <p14:creationId xmlns:p14="http://schemas.microsoft.com/office/powerpoint/2010/main" val="968278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6858000"/>
          </a:xfrm>
        </p:spPr>
        <p:txBody>
          <a:bodyPr>
            <a:normAutofit/>
          </a:bodyPr>
          <a:lstStyle/>
          <a:p>
            <a:pPr algn="ctr"/>
            <a:r>
              <a:rPr lang="de-DE" sz="8000" dirty="0"/>
              <a:t>Danke für Ihre Aufmerksamkeit!</a:t>
            </a:r>
            <a:br>
              <a:rPr lang="de-DE" sz="8000" dirty="0"/>
            </a:br>
            <a:r>
              <a:rPr lang="de-DE" sz="8000" dirty="0"/>
              <a:t/>
            </a:r>
            <a:br>
              <a:rPr lang="de-DE" sz="8000" dirty="0"/>
            </a:br>
            <a:r>
              <a:rPr lang="de-DE" sz="4400" dirty="0"/>
              <a:t>#</a:t>
            </a:r>
            <a:r>
              <a:rPr lang="de-DE" sz="4400" dirty="0" err="1"/>
              <a:t>HHZ_Hackathon</a:t>
            </a:r>
            <a:endParaRPr lang="de-DE" sz="800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4294967295"/>
          </p:nvPr>
        </p:nvSpPr>
        <p:spPr>
          <a:xfrm>
            <a:off x="0" y="6356350"/>
            <a:ext cx="2057400" cy="365125"/>
          </a:xfrm>
        </p:spPr>
        <p:txBody>
          <a:bodyPr/>
          <a:lstStyle/>
          <a:p>
            <a:r>
              <a:rPr lang="de-DE" dirty="0"/>
              <a:t>29.01.2019</a:t>
            </a:r>
          </a:p>
        </p:txBody>
      </p:sp>
    </p:spTree>
    <p:extLst>
      <p:ext uri="{BB962C8B-B14F-4D97-AF65-F5344CB8AC3E}">
        <p14:creationId xmlns:p14="http://schemas.microsoft.com/office/powerpoint/2010/main" val="2583654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59200" y="2926305"/>
            <a:ext cx="5260526" cy="308948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z="2400" dirty="0" err="1"/>
              <a:t>Recap</a:t>
            </a:r>
            <a:r>
              <a:rPr lang="de-DE" sz="2400" dirty="0"/>
              <a:t> Aufgabenstellung</a:t>
            </a:r>
          </a:p>
          <a:p>
            <a:r>
              <a:rPr lang="de-DE" sz="2400" dirty="0"/>
              <a:t>Gesamtaufbau</a:t>
            </a:r>
          </a:p>
          <a:p>
            <a:r>
              <a:rPr lang="de-DE" sz="2400" dirty="0"/>
              <a:t>MVP</a:t>
            </a:r>
          </a:p>
          <a:p>
            <a:r>
              <a:rPr lang="de-DE" sz="2400" dirty="0"/>
              <a:t>Use-Case Video</a:t>
            </a:r>
          </a:p>
          <a:p>
            <a:r>
              <a:rPr lang="de-DE" sz="2400" dirty="0"/>
              <a:t>Live Demo</a:t>
            </a:r>
          </a:p>
          <a:p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5" name="Shape 3852" descr="photo-1434030216411-0b793f4b4173.jpg">
            <a:extLst>
              <a:ext uri="{FF2B5EF4-FFF2-40B4-BE49-F238E27FC236}">
                <a16:creationId xmlns:a16="http://schemas.microsoft.com/office/drawing/2014/main" xmlns="" id="{DD813372-C9BC-4E15-9CCA-388F84BBF694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23367" r="21417"/>
          <a:stretch/>
        </p:blipFill>
        <p:spPr>
          <a:xfrm>
            <a:off x="0" y="0"/>
            <a:ext cx="3103938" cy="601579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hape 3850">
            <a:extLst>
              <a:ext uri="{FF2B5EF4-FFF2-40B4-BE49-F238E27FC236}">
                <a16:creationId xmlns:a16="http://schemas.microsoft.com/office/drawing/2014/main" xmlns="" id="{8AB2955E-6ECD-49E6-BCD0-EFD5E34D05DE}"/>
              </a:ext>
            </a:extLst>
          </p:cNvPr>
          <p:cNvSpPr txBox="1">
            <a:spLocks/>
          </p:cNvSpPr>
          <p:nvPr/>
        </p:nvSpPr>
        <p:spPr>
          <a:xfrm>
            <a:off x="3859199" y="17009"/>
            <a:ext cx="5260526" cy="2892287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C000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</a:pPr>
            <a:r>
              <a:rPr lang="de-DE" sz="7200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AGENDA</a:t>
            </a:r>
            <a:endParaRPr lang="de-DE" sz="11500" dirty="0">
              <a:solidFill>
                <a:schemeClr val="accent1">
                  <a:lumMod val="50000"/>
                </a:schemeClr>
              </a:solidFill>
              <a:latin typeface="Franklin Gothic Demi"/>
            </a:endParaRPr>
          </a:p>
        </p:txBody>
      </p:sp>
    </p:spTree>
    <p:extLst>
      <p:ext uri="{BB962C8B-B14F-4D97-AF65-F5344CB8AC3E}">
        <p14:creationId xmlns:p14="http://schemas.microsoft.com/office/powerpoint/2010/main" val="18920522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2363F632-78E5-4487-9186-07B6F7CA0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7" name="Titel 4">
            <a:extLst>
              <a:ext uri="{FF2B5EF4-FFF2-40B4-BE49-F238E27FC236}">
                <a16:creationId xmlns:a16="http://schemas.microsoft.com/office/drawing/2014/main" xmlns="" id="{9D6D15F3-8D05-407A-A0D8-561B5AF13927}"/>
              </a:ext>
            </a:extLst>
          </p:cNvPr>
          <p:cNvSpPr txBox="1">
            <a:spLocks/>
          </p:cNvSpPr>
          <p:nvPr/>
        </p:nvSpPr>
        <p:spPr>
          <a:xfrm>
            <a:off x="628650" y="-10794"/>
            <a:ext cx="7886700" cy="14739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C000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de-DE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Recap Aufgabenstellung</a:t>
            </a:r>
            <a:endParaRPr lang="de-DE" dirty="0">
              <a:solidFill>
                <a:schemeClr val="accent1">
                  <a:lumMod val="50000"/>
                </a:schemeClr>
              </a:solidFill>
              <a:latin typeface="Franklin Gothic Demi"/>
            </a:endParaRP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xmlns="" id="{4562F2BE-628C-475C-A760-46D157E60D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33049"/>
            <a:ext cx="8302337" cy="459707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dirty="0">
                <a:latin typeface="Franklin Gothic Book"/>
              </a:rPr>
              <a:t>Unterstützung für </a:t>
            </a:r>
            <a:r>
              <a:rPr lang="de-DE" dirty="0" err="1">
                <a:latin typeface="Franklin Gothic Book"/>
              </a:rPr>
              <a:t>Social</a:t>
            </a:r>
            <a:r>
              <a:rPr lang="de-DE" dirty="0">
                <a:latin typeface="Franklin Gothic Book"/>
              </a:rPr>
              <a:t>-Media Content</a:t>
            </a:r>
            <a:endParaRPr lang="de-DE" dirty="0"/>
          </a:p>
          <a:p>
            <a:endParaRPr lang="de-DE" dirty="0">
              <a:latin typeface="Franklin Gothic Book"/>
            </a:endParaRPr>
          </a:p>
          <a:p>
            <a:r>
              <a:rPr lang="de-DE" dirty="0">
                <a:latin typeface="Franklin Gothic Book"/>
              </a:rPr>
              <a:t>Problem: Aufwändig Content mit Bild und Text zu erstellen. </a:t>
            </a:r>
            <a:endParaRPr lang="de-DE" dirty="0"/>
          </a:p>
          <a:p>
            <a:pPr marL="0" indent="0">
              <a:buNone/>
            </a:pPr>
            <a:endParaRPr lang="de-DE" dirty="0">
              <a:latin typeface="Franklin Gothic Book"/>
            </a:endParaRPr>
          </a:p>
          <a:p>
            <a:r>
              <a:rPr lang="de-DE" dirty="0">
                <a:latin typeface="Franklin Gothic Book"/>
              </a:rPr>
              <a:t>Kompakte portable Kamerasysteme (</a:t>
            </a:r>
            <a:r>
              <a:rPr lang="de-DE" dirty="0" err="1">
                <a:latin typeface="Franklin Gothic Book"/>
              </a:rPr>
              <a:t>Raspi</a:t>
            </a:r>
            <a:r>
              <a:rPr lang="de-DE" dirty="0">
                <a:latin typeface="Franklin Gothic Book"/>
              </a:rPr>
              <a:t> + Webcam)</a:t>
            </a:r>
          </a:p>
          <a:p>
            <a:endParaRPr lang="de-DE" dirty="0">
              <a:latin typeface="Franklin Gothic Book"/>
            </a:endParaRPr>
          </a:p>
          <a:p>
            <a:r>
              <a:rPr lang="de-DE" dirty="0">
                <a:latin typeface="Franklin Gothic Book"/>
              </a:rPr>
              <a:t>Automatisierte Aufnahmen für späteres Posting mit Hilfe der Sensorik</a:t>
            </a:r>
          </a:p>
          <a:p>
            <a:pPr marL="0" indent="0">
              <a:buNone/>
            </a:pPr>
            <a:endParaRPr lang="de-DE" dirty="0">
              <a:latin typeface="Franklin Gothic Book"/>
            </a:endParaRPr>
          </a:p>
          <a:p>
            <a:r>
              <a:rPr lang="de-DE" dirty="0">
                <a:latin typeface="Franklin Gothic Book"/>
              </a:rPr>
              <a:t>Vorschläge für Erstellung eines passenden Textes</a:t>
            </a:r>
          </a:p>
          <a:p>
            <a:endParaRPr lang="de-DE" dirty="0">
              <a:latin typeface="Franklin Gothic Book"/>
            </a:endParaRPr>
          </a:p>
          <a:p>
            <a:r>
              <a:rPr lang="de-DE" dirty="0">
                <a:latin typeface="Franklin Gothic Book"/>
              </a:rPr>
              <a:t>Postvorschläge – Zurverfügungstellung über Dropbo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94788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2363F632-78E5-4487-9186-07B6F7CA0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xmlns="" id="{103DA7B3-FB87-4EC1-A6E7-9563E0114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-634"/>
            <a:ext cx="7886700" cy="1325563"/>
          </a:xfrm>
        </p:spPr>
        <p:txBody>
          <a:bodyPr/>
          <a:lstStyle/>
          <a:p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Gesamtaufbau </a:t>
            </a:r>
            <a:r>
              <a:rPr lang="de-DE" dirty="0" err="1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Social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 Reporte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CAE227EE-0931-427F-9477-42A091353D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9911" y="1391920"/>
            <a:ext cx="6284177" cy="453358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98BD3DED-59C2-4ED1-81D7-C2D2ED3504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55577" y="1391919"/>
            <a:ext cx="919546" cy="919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385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2363F632-78E5-4487-9186-07B6F7CA0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xmlns="" id="{103DA7B3-FB87-4EC1-A6E7-9563E0114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Gesamtaufbau </a:t>
            </a:r>
            <a:r>
              <a:rPr lang="de-DE" dirty="0" err="1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Social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 Reporte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xmlns="" id="{A925F99E-A21C-49DD-829C-546B7A349A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1423206" y="1391920"/>
            <a:ext cx="6297588" cy="453966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C4966C16-012C-4389-B5CF-253BD8891B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55577" y="1391919"/>
            <a:ext cx="919546" cy="919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7350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2363F632-78E5-4487-9186-07B6F7CA0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xmlns="" id="{103DA7B3-FB87-4EC1-A6E7-9563E0114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Gesamtaufbau </a:t>
            </a:r>
            <a:r>
              <a:rPr lang="de-DE" dirty="0" err="1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Social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 Reporter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xmlns="" id="{13ECCFD4-2541-467E-BD4A-2787235F2F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509" y="1391919"/>
            <a:ext cx="6286982" cy="453358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43BC5838-786C-42B9-895A-F6FE3C094A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55577" y="1391919"/>
            <a:ext cx="919546" cy="919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8540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2363F632-78E5-4487-9186-07B6F7CA0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8" name="Titel 4">
            <a:extLst>
              <a:ext uri="{FF2B5EF4-FFF2-40B4-BE49-F238E27FC236}">
                <a16:creationId xmlns:a16="http://schemas.microsoft.com/office/drawing/2014/main" xmlns="" id="{A0D6EFB9-E737-47A9-9C20-24FBBB316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Gesamtaufbau </a:t>
            </a:r>
            <a:r>
              <a:rPr lang="de-DE" dirty="0" err="1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Social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 Reporter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xmlns="" id="{171A4201-75B9-454D-AE80-91F646B73C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84565"/>
              </p:ext>
            </p:extLst>
          </p:nvPr>
        </p:nvGraphicFramePr>
        <p:xfrm>
          <a:off x="0" y="2290766"/>
          <a:ext cx="9144000" cy="13862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86000">
                  <a:extLst>
                    <a:ext uri="{9D8B030D-6E8A-4147-A177-3AD203B41FA5}">
                      <a16:colId xmlns:a16="http://schemas.microsoft.com/office/drawing/2014/main" xmlns="" val="3134547283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xmlns="" val="1559340915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xmlns="" val="1226941894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xmlns="" val="2914920964"/>
                    </a:ext>
                  </a:extLst>
                </a:gridCol>
              </a:tblGrid>
              <a:tr h="603198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600" b="1" u="none" strike="noStrike" dirty="0">
                          <a:effectLst/>
                        </a:rPr>
                        <a:t>Sensoren (automatische Auslösung)</a:t>
                      </a:r>
                      <a:endParaRPr lang="de-DE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600" b="1" u="none" strike="noStrike" dirty="0">
                          <a:effectLst/>
                        </a:rPr>
                        <a:t>Buttons (manuelle Auslösung)</a:t>
                      </a:r>
                      <a:endParaRPr lang="de-DE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05037493"/>
                  </a:ext>
                </a:extLst>
              </a:tr>
              <a:tr h="44303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u="none" strike="noStrike" dirty="0">
                          <a:effectLst/>
                        </a:rPr>
                        <a:t>Bewegungssensoren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u="none" strike="noStrike" dirty="0">
                          <a:effectLst/>
                        </a:rPr>
                        <a:t>Gesichtserkennung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u="none" strike="noStrike" dirty="0" err="1">
                          <a:effectLst/>
                        </a:rPr>
                        <a:t>Dashbutton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u="none" strike="noStrike" dirty="0">
                          <a:effectLst/>
                        </a:rPr>
                        <a:t>Web-Button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67162780"/>
                  </a:ext>
                </a:extLst>
              </a:tr>
              <a:tr h="34001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600" u="none" strike="noStrike" dirty="0">
                          <a:effectLst/>
                        </a:rPr>
                        <a:t> zum Teil kombiniert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u="none" strike="noStrike" dirty="0">
                          <a:effectLst/>
                        </a:rPr>
                        <a:t>- 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u="none" strike="noStrike" dirty="0">
                          <a:effectLst/>
                        </a:rPr>
                        <a:t>-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20731391"/>
                  </a:ext>
                </a:extLst>
              </a:tr>
            </a:tbl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C364E81D-8527-47E4-85D5-1D61CEFBFF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4740353" y="4324069"/>
            <a:ext cx="2121004" cy="91203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F27E2AFE-C392-4BA0-8ED3-142A651F1E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6497" y="3877278"/>
            <a:ext cx="1211267" cy="180561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21773995-E77C-46D6-9019-1C80E4FF02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95310" y="3707942"/>
            <a:ext cx="2324219" cy="197495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FB5DD71A-E6CE-4C39-A597-03F981D07D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1291" y="3719582"/>
            <a:ext cx="2485753" cy="2264699"/>
          </a:xfrm>
          <a:prstGeom prst="rect">
            <a:avLst/>
          </a:prstGeom>
        </p:spPr>
      </p:pic>
      <p:sp>
        <p:nvSpPr>
          <p:cNvPr id="14" name="Titel 4">
            <a:extLst>
              <a:ext uri="{FF2B5EF4-FFF2-40B4-BE49-F238E27FC236}">
                <a16:creationId xmlns:a16="http://schemas.microsoft.com/office/drawing/2014/main" xmlns="" id="{EA01531A-6F86-4C46-8335-92FB92E6CFFD}"/>
              </a:ext>
            </a:extLst>
          </p:cNvPr>
          <p:cNvSpPr txBox="1">
            <a:spLocks/>
          </p:cNvSpPr>
          <p:nvPr/>
        </p:nvSpPr>
        <p:spPr>
          <a:xfrm>
            <a:off x="628650" y="904517"/>
            <a:ext cx="8515350" cy="13862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C000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buClrTx/>
              <a:buSzTx/>
              <a:buFontTx/>
            </a:pPr>
            <a:r>
              <a:rPr lang="de-DE" sz="2000" dirty="0">
                <a:solidFill>
                  <a:schemeClr val="tx1"/>
                </a:solidFill>
                <a:latin typeface="Franklin Gothic Book"/>
                <a:ea typeface="+mn-ea"/>
                <a:cs typeface="+mn-cs"/>
              </a:rPr>
              <a:t>Die Aufnahme kann automatisch oder manuell durch folgende Inputs ausgelöst werden, solange ein Kalendereintrag vorliegt...</a:t>
            </a:r>
          </a:p>
        </p:txBody>
      </p:sp>
    </p:spTree>
    <p:extLst>
      <p:ext uri="{BB962C8B-B14F-4D97-AF65-F5344CB8AC3E}">
        <p14:creationId xmlns:p14="http://schemas.microsoft.com/office/powerpoint/2010/main" val="13764085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2363F632-78E5-4487-9186-07B6F7CA0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5" name="Titel 4">
            <a:extLst>
              <a:ext uri="{FF2B5EF4-FFF2-40B4-BE49-F238E27FC236}">
                <a16:creationId xmlns:a16="http://schemas.microsoft.com/office/drawing/2014/main" xmlns="" id="{4B8AD8B9-C6EA-435D-8A8A-119679056C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MVP Aufbau der Infrastruktur</a:t>
            </a:r>
            <a:endParaRPr lang="de-DE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6" name="Grafik 2">
            <a:extLst>
              <a:ext uri="{FF2B5EF4-FFF2-40B4-BE49-F238E27FC236}">
                <a16:creationId xmlns:a16="http://schemas.microsoft.com/office/drawing/2014/main" xmlns="" id="{508EF881-6781-4316-8041-16571DF8E0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00188" y="1614759"/>
            <a:ext cx="6143625" cy="404812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xmlns="" id="{09BC2783-7DAE-482B-B05A-B74C3798A1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14759"/>
            <a:ext cx="1814241" cy="1814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3995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2363F632-78E5-4487-9186-07B6F7CA0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9" name="Titel 4">
            <a:extLst>
              <a:ext uri="{FF2B5EF4-FFF2-40B4-BE49-F238E27FC236}">
                <a16:creationId xmlns:a16="http://schemas.microsoft.com/office/drawing/2014/main" xmlns="" id="{CAC70216-89DE-4AA9-BF79-2778AAB3A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-3612"/>
            <a:ext cx="7886700" cy="1325563"/>
          </a:xfrm>
        </p:spPr>
        <p:txBody>
          <a:bodyPr/>
          <a:lstStyle/>
          <a:p>
            <a:r>
              <a:rPr lang="de-DE" dirty="0">
                <a:solidFill>
                  <a:schemeClr val="accent1">
                    <a:lumMod val="50000"/>
                  </a:schemeClr>
                </a:solidFill>
                <a:latin typeface="Franklin Gothic Demi"/>
              </a:rPr>
              <a:t>MVP Aufbau in Raum 125</a:t>
            </a:r>
            <a:endParaRPr lang="de-DE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0" name="Grafik 7">
            <a:extLst>
              <a:ext uri="{FF2B5EF4-FFF2-40B4-BE49-F238E27FC236}">
                <a16:creationId xmlns:a16="http://schemas.microsoft.com/office/drawing/2014/main" xmlns="" id="{7F72160D-0F8C-4E17-8A9C-5BCBD6CE2BF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372420" y="1613391"/>
            <a:ext cx="6106573" cy="3922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821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7</Words>
  <Application>Microsoft Office PowerPoint</Application>
  <PresentationFormat>Bildschirmpräsentation (4:3)</PresentationFormat>
  <Paragraphs>55</Paragraphs>
  <Slides>12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4" baseType="lpstr">
      <vt:lpstr>Office Theme</vt:lpstr>
      <vt:lpstr>think-cell Folie</vt:lpstr>
      <vt:lpstr>Social Reporter  Isabel Schorm, Tobias Kanaske, Philipp Sautter, Philipp Regel</vt:lpstr>
      <vt:lpstr>PowerPoint-Präsentation</vt:lpstr>
      <vt:lpstr>PowerPoint-Präsentation</vt:lpstr>
      <vt:lpstr>Gesamtaufbau Social Reporter</vt:lpstr>
      <vt:lpstr>Gesamtaufbau Social Reporter</vt:lpstr>
      <vt:lpstr>Gesamtaufbau Social Reporter</vt:lpstr>
      <vt:lpstr>Gesamtaufbau Social Reporter</vt:lpstr>
      <vt:lpstr>MVP Aufbau der Infrastruktur</vt:lpstr>
      <vt:lpstr>MVP Aufbau in Raum 125</vt:lpstr>
      <vt:lpstr>Social Reporter Use-Case</vt:lpstr>
      <vt:lpstr>Live Demo</vt:lpstr>
      <vt:lpstr>Danke für Ihre Aufmerksamkeit!  #HHZ_Hackath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Windows User</cp:lastModifiedBy>
  <cp:revision>199</cp:revision>
  <cp:lastPrinted>2012-09-04T09:22:48Z</cp:lastPrinted>
  <dcterms:created xsi:type="dcterms:W3CDTF">2011-07-07T11:12:14Z</dcterms:created>
  <dcterms:modified xsi:type="dcterms:W3CDTF">2019-01-29T14:1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